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6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A5D7A2-F4AA-179C-A722-0F0861DF99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D34516-D195-E360-7B86-8A676164F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37FA7E-27E0-1E93-57D6-9325E5592C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</a:t>
            </a: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11744172-4A0F-91BB-4543-E5FBE98CDC27}"/>
              </a:ext>
            </a:extLst>
          </p:cNvPr>
          <p:cNvGraphicFramePr>
            <a:graphicFrameLocks noGrp="1"/>
          </p:cNvGraphicFramePr>
          <p:nvPr/>
        </p:nvGraphicFramePr>
        <p:xfrm>
          <a:off x="441325" y="1282585"/>
          <a:ext cx="11444288" cy="46797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072">
                  <a:extLst>
                    <a:ext uri="{9D8B030D-6E8A-4147-A177-3AD203B41FA5}">
                      <a16:colId xmlns:a16="http://schemas.microsoft.com/office/drawing/2014/main" val="730054820"/>
                    </a:ext>
                  </a:extLst>
                </a:gridCol>
                <a:gridCol w="2861072">
                  <a:extLst>
                    <a:ext uri="{9D8B030D-6E8A-4147-A177-3AD203B41FA5}">
                      <a16:colId xmlns:a16="http://schemas.microsoft.com/office/drawing/2014/main" val="4170727307"/>
                    </a:ext>
                  </a:extLst>
                </a:gridCol>
                <a:gridCol w="2861072">
                  <a:extLst>
                    <a:ext uri="{9D8B030D-6E8A-4147-A177-3AD203B41FA5}">
                      <a16:colId xmlns:a16="http://schemas.microsoft.com/office/drawing/2014/main" val="3741548272"/>
                    </a:ext>
                  </a:extLst>
                </a:gridCol>
                <a:gridCol w="2861072">
                  <a:extLst>
                    <a:ext uri="{9D8B030D-6E8A-4147-A177-3AD203B41FA5}">
                      <a16:colId xmlns:a16="http://schemas.microsoft.com/office/drawing/2014/main" val="322861448"/>
                    </a:ext>
                  </a:extLst>
                </a:gridCol>
              </a:tblGrid>
              <a:tr h="917517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Title</a:t>
                      </a:r>
                      <a:endParaRPr lang="en-IN" sz="16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37" marR="91037" marT="45519" marB="4551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Title</a:t>
                      </a:r>
                      <a:endParaRPr lang="en-IN" sz="16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37" marR="91037" marT="45519" marB="4551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Title</a:t>
                      </a:r>
                      <a:endParaRPr lang="en-IN" sz="16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37" marR="91037" marT="45519" marB="4551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Title</a:t>
                      </a:r>
                      <a:endParaRPr lang="en-IN" sz="16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37" marR="91037" marT="45519" marB="4551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488296"/>
                  </a:ext>
                </a:extLst>
              </a:tr>
              <a:tr h="1254069">
                <a:tc>
                  <a:txBody>
                    <a:bodyPr/>
                    <a:lstStyle/>
                    <a:p>
                      <a:pPr marL="540000"/>
                      <a:r>
                        <a:rPr lang="en-US" sz="16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Header 1</a:t>
                      </a:r>
                      <a:endParaRPr lang="en-IN" sz="1600" b="1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328870" marR="91037" marT="45519" marB="4551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Insert Text Here</a:t>
                      </a:r>
                      <a:endParaRPr lang="en-IN" sz="16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1037" marR="91037" marT="45519" marB="455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sert Text Here</a:t>
                      </a:r>
                      <a:endParaRPr kumimoji="0" lang="en-IN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037" marR="91037" marT="45519" marB="455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sert Text Here</a:t>
                      </a:r>
                      <a:endParaRPr kumimoji="0" lang="en-IN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037" marR="91037" marT="45519" marB="455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0406733"/>
                  </a:ext>
                </a:extLst>
              </a:tr>
              <a:tr h="1254069">
                <a:tc>
                  <a:txBody>
                    <a:bodyPr/>
                    <a:lstStyle/>
                    <a:p>
                      <a:pPr marL="540000"/>
                      <a:r>
                        <a:rPr lang="en-US" sz="16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Header 2</a:t>
                      </a:r>
                      <a:endParaRPr lang="en-IN" sz="1600" b="1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328870" marR="91037" marT="45519" marB="4551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sert Text Here</a:t>
                      </a:r>
                      <a:endParaRPr kumimoji="0" lang="en-IN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037" marR="91037" marT="45519" marB="455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sert Text Here</a:t>
                      </a:r>
                      <a:endParaRPr kumimoji="0" lang="en-IN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037" marR="91037" marT="45519" marB="455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sert Text Here</a:t>
                      </a:r>
                      <a:endParaRPr kumimoji="0" lang="en-IN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037" marR="91037" marT="45519" marB="455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053098"/>
                  </a:ext>
                </a:extLst>
              </a:tr>
              <a:tr h="1254069">
                <a:tc>
                  <a:txBody>
                    <a:bodyPr/>
                    <a:lstStyle/>
                    <a:p>
                      <a:pPr marL="540000"/>
                      <a:r>
                        <a:rPr lang="en-US" sz="16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Header 3</a:t>
                      </a:r>
                      <a:endParaRPr lang="en-IN" sz="1600" b="1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328870" marR="91037" marT="45519" marB="4551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sert Text Here</a:t>
                      </a:r>
                      <a:endParaRPr kumimoji="0" lang="en-IN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037" marR="91037" marT="45519" marB="455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sert Text Here</a:t>
                      </a:r>
                      <a:endParaRPr kumimoji="0" lang="en-IN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037" marR="91037" marT="45519" marB="455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sert Text Here</a:t>
                      </a:r>
                      <a:endParaRPr kumimoji="0" lang="en-IN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037" marR="91037" marT="45519" marB="4551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5120899"/>
                  </a:ext>
                </a:extLst>
              </a:tr>
            </a:tbl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020CB67F-11B8-9A8D-64E5-C3688196264C}"/>
              </a:ext>
            </a:extLst>
          </p:cNvPr>
          <p:cNvSpPr/>
          <p:nvPr/>
        </p:nvSpPr>
        <p:spPr>
          <a:xfrm>
            <a:off x="623111" y="2661380"/>
            <a:ext cx="379636" cy="37963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A</a:t>
            </a:r>
            <a:endParaRPr lang="en-IN" sz="1576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5B1753-20F5-722B-4525-CAB5BF8A4FED}"/>
              </a:ext>
            </a:extLst>
          </p:cNvPr>
          <p:cNvSpPr/>
          <p:nvPr/>
        </p:nvSpPr>
        <p:spPr>
          <a:xfrm>
            <a:off x="623111" y="3895448"/>
            <a:ext cx="379636" cy="37963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B</a:t>
            </a:r>
            <a:endParaRPr lang="en-IN" sz="1576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5A326C6-F202-B300-E4D6-ECA15C6F55C5}"/>
              </a:ext>
            </a:extLst>
          </p:cNvPr>
          <p:cNvSpPr/>
          <p:nvPr/>
        </p:nvSpPr>
        <p:spPr>
          <a:xfrm>
            <a:off x="623111" y="5129518"/>
            <a:ext cx="379636" cy="37963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576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C</a:t>
            </a:r>
            <a:endParaRPr lang="en-IN" sz="1576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861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8</TotalTime>
  <Words>42</Words>
  <Application>Microsoft Office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22</cp:revision>
  <dcterms:created xsi:type="dcterms:W3CDTF">2021-03-31T02:49:57Z</dcterms:created>
  <dcterms:modified xsi:type="dcterms:W3CDTF">2025-10-16T11:13:36Z</dcterms:modified>
  <cp:category/>
</cp:coreProperties>
</file>